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sldIdLst>
    <p:sldId id="465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B562"/>
    <a:srgbClr val="941914"/>
    <a:srgbClr val="6A2926"/>
    <a:srgbClr val="C63228"/>
    <a:srgbClr val="442A26"/>
    <a:srgbClr val="AE2C26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24"/>
  </p:normalViewPr>
  <p:slideViewPr>
    <p:cSldViewPr snapToGrid="0">
      <p:cViewPr varScale="1">
        <p:scale>
          <a:sx n="82" d="100"/>
          <a:sy n="82" d="100"/>
        </p:scale>
        <p:origin x="864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Xavier Arola" userId="7602816b-230a-426e-8eaf-9f7c32eee040" providerId="ADAL" clId="{65A4F9F8-362E-4521-96C8-B1658FDD9418}"/>
    <pc:docChg chg="modSld">
      <pc:chgData name="Xavier Arola" userId="7602816b-230a-426e-8eaf-9f7c32eee040" providerId="ADAL" clId="{65A4F9F8-362E-4521-96C8-B1658FDD9418}" dt="2025-06-17T14:16:27.821" v="0" actId="1076"/>
      <pc:docMkLst>
        <pc:docMk/>
      </pc:docMkLst>
      <pc:sldChg chg="modSp mod">
        <pc:chgData name="Xavier Arola" userId="7602816b-230a-426e-8eaf-9f7c32eee040" providerId="ADAL" clId="{65A4F9F8-362E-4521-96C8-B1658FDD9418}" dt="2025-06-17T14:16:27.821" v="0" actId="1076"/>
        <pc:sldMkLst>
          <pc:docMk/>
          <pc:sldMk cId="1842729146" sldId="465"/>
        </pc:sldMkLst>
        <pc:spChg chg="mod">
          <ac:chgData name="Xavier Arola" userId="7602816b-230a-426e-8eaf-9f7c32eee040" providerId="ADAL" clId="{65A4F9F8-362E-4521-96C8-B1658FDD9418}" dt="2025-06-17T14:16:27.821" v="0" actId="1076"/>
          <ac:spMkLst>
            <pc:docMk/>
            <pc:sldMk cId="1842729146" sldId="465"/>
            <ac:spMk id="4" creationId="{C96DD53E-0DF1-459C-A325-AB1131EF82F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B8636D-155D-44E4-A4C6-118CBE8ED44B}" type="datetimeFigureOut">
              <a:rPr lang="es-ES" smtClean="0"/>
              <a:t>17/06/2025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117F8E-B589-4507-957E-F73517039CD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48322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402A46FC-E0A6-4849-A9A1-27499CF765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85405" y="6261264"/>
            <a:ext cx="9144" cy="371857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3321D947-E9F2-4156-83AB-FDAF8EFAAD52}"/>
              </a:ext>
            </a:extLst>
          </p:cNvPr>
          <p:cNvSpPr txBox="1"/>
          <p:nvPr userDrawn="1"/>
        </p:nvSpPr>
        <p:spPr>
          <a:xfrm>
            <a:off x="9994549" y="6294567"/>
            <a:ext cx="36436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F49AB555-5BA7-4C48-930B-DF75E39B2F06}"/>
              </a:ext>
            </a:extLst>
          </p:cNvPr>
          <p:cNvSpPr txBox="1"/>
          <p:nvPr userDrawn="1"/>
        </p:nvSpPr>
        <p:spPr>
          <a:xfrm>
            <a:off x="7460022" y="6312064"/>
            <a:ext cx="28131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>
                <a:latin typeface="Arial" panose="020B0604020202020204" pitchFamily="34" charset="0"/>
                <a:cs typeface="Arial" panose="020B0604020202020204" pitchFamily="34" charset="0"/>
              </a:rPr>
              <a:t>Madrid Campus: C/Numancia, 6 28039 Madrid</a:t>
            </a:r>
          </a:p>
          <a:p>
            <a:r>
              <a:rPr lang="es-ES" sz="800">
                <a:latin typeface="Arial" panose="020B0604020202020204" pitchFamily="34" charset="0"/>
                <a:cs typeface="Arial" panose="020B0604020202020204" pitchFamily="34" charset="0"/>
              </a:rPr>
              <a:t>Barcelona Campus: C/</a:t>
            </a:r>
            <a:r>
              <a:rPr lang="es-ES" sz="800" err="1">
                <a:latin typeface="Arial" panose="020B0604020202020204" pitchFamily="34" charset="0"/>
                <a:cs typeface="Arial" panose="020B0604020202020204" pitchFamily="34" charset="0"/>
              </a:rPr>
              <a:t>Aragó</a:t>
            </a:r>
            <a:r>
              <a:rPr lang="es-ES" sz="800">
                <a:latin typeface="Arial" panose="020B0604020202020204" pitchFamily="34" charset="0"/>
                <a:cs typeface="Arial" panose="020B0604020202020204" pitchFamily="34" charset="0"/>
              </a:rPr>
              <a:t>, 179 08011 Barcelona</a:t>
            </a:r>
            <a:endParaRPr lang="en-GB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020E1B2-7CC9-44E0-9D2F-98930076318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0832" y="6196510"/>
            <a:ext cx="1031529" cy="454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4621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9977410-775D-41E1-A1CC-5439A11EE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4800301E-41D6-45B7-BA16-AA49EAC8C7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C3490FE-96DD-4FC4-B8E8-9730183D51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50923A2-69C6-4C83-A6DE-03A173C4F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E9EFFB4-79BF-4240-9153-F043A7FE1F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41859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8686289-819F-49AA-8DED-7FEE3E4E3FD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754D067-A68A-4DC4-A84D-D444BEA558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C05CEEF-3194-4A36-B649-4A0A9CA887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ABC0D1A-8DDC-4990-BA7F-5E20BEE85E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FBCE478-C962-42E3-B774-DDE0493530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23859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5039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3343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197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0071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2844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1688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7636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8176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7BD1383-A146-4EAD-B03B-FF8D856EE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222FB34-34D7-4A13-B956-D882F29072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AF97BC-4AAB-4023-AC61-4763BD3228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D809D62-D659-4D0A-82AD-4CF49005C8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2B12030-523B-4C91-9DC0-4F0451296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55805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9801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9141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1F5C233-375D-4233-871A-5606010CF8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A6B8DDB-C8B1-4030-920E-5F5216DB5A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71CF2C5-9ABB-460B-AF5A-5F52ADA037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03611DC-FB7A-40BB-8E99-D581AA43C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83E7564-63F5-45BD-8CDC-0F811BC769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7695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4261AC-7853-46F8-8B21-4BC12B2DB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7851E55-FD7C-4B6B-B691-19293A13D0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34311A7-C3DF-4371-BA98-518132B4F1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0CED73A4-1DDE-407D-A591-2A6B188C8B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39D44C5-D01A-474F-A7BB-6EAD3B8CE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C3796DA-E9D0-492A-9C9D-0E6AD6E5F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8963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B79181-543C-4020-8210-DCFE6BA844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5463C83-639F-4BC5-A5EE-346583FDEB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E8FC8F6-D806-4752-AF37-CA35B6E1FA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03BE360F-7BFC-4051-9353-FF0F6A96CB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C186232C-D9F6-416B-9230-B2C766F9817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49A14627-0A09-4E26-B193-F351174359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09D8180A-7C21-4321-8A66-60F0903C3B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DDB80743-51B6-40BE-B80A-795F214FAF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82230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8C02903-F8CD-4FFA-8EFA-86AE2C542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D2F0A657-D28E-455D-A50A-DBDDA3B069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2CF6CA2-8DE4-4AD9-B0A3-7798BA0F4D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BB31DAA-F560-429D-A64B-024A2C667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29009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D85F70C2-F5F6-4B24-AC9D-7B484694EB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7EAD4FCF-444A-4664-9782-FA5337FCE7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285A5CDD-535A-4FD4-8A54-CD3B9233E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47596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3D8C18-9A12-41F5-A511-206F338582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3232065-D6A2-4976-BBF7-FD68F11C7F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03C10F5-D7FE-4891-B73A-0B16428425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6264862C-AC30-468E-87CC-E8F0D25CE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48D84E8-C21F-48CF-8F39-417DFB6070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D0230B2-1C0B-4735-B3E8-B2EA1E8CB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54327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5990CA-0980-4B2B-80A7-9E3B5AB26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A077B3D4-9495-4AC4-93A8-BFAEBFD1C72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5B2C392-A9C9-4D2A-9430-C9E65029CC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DEE7244-730F-4719-9C9D-B12672342C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B7AD21DC-42D4-4374-99B5-B1FC05D9D6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91B9AEA-91F8-4AE6-B81C-0A9317BFC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2585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9123B1D8-F5D6-479C-BB36-9F92DEB949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1ADDC61-3BBB-4EF7-ACCB-4EAA9D5B99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4C4EDB-5CF2-4466-B39B-0197576665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829C91C-2330-4A96-B3D1-4488C486EB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7965DD6-A58E-463C-8A2D-F50444B493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4658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  <p:sldLayoutId id="2147483664" r:id="rId13"/>
    <p:sldLayoutId id="2147483665" r:id="rId14"/>
    <p:sldLayoutId id="2147483666" r:id="rId15"/>
    <p:sldLayoutId id="2147483672" r:id="rId16"/>
    <p:sldLayoutId id="2147483673" r:id="rId17"/>
    <p:sldLayoutId id="2147483675" r:id="rId18"/>
    <p:sldLayoutId id="2147483677" r:id="rId19"/>
    <p:sldLayoutId id="2147483678" r:id="rId20"/>
    <p:sldLayoutId id="2147483679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247480" y="1464534"/>
            <a:ext cx="9922476" cy="357020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i="1" dirty="0">
                <a:solidFill>
                  <a:srgbClr val="2A2A2A"/>
                </a:solidFill>
                <a:latin typeface="Arial"/>
                <a:cs typeface="Arial"/>
              </a:rPr>
              <a:t> </a:t>
            </a:r>
            <a:r>
              <a:rPr lang="en-US" sz="3200" i="1" dirty="0">
                <a:solidFill>
                  <a:srgbClr val="2A2A2A"/>
                </a:solidFill>
                <a:latin typeface="Arial"/>
                <a:cs typeface="Arial"/>
              </a:rPr>
              <a:t>EXERCISE 3) FROM MARKET SEGMENTATION TO THE BEACHEAD MARKET</a:t>
            </a: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s-ES" b="1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427291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pportunity analysis ppt 1" id="{34C05EFA-C261-A84D-B935-9AFCBD159EE1}" vid="{C2A0FA48-17F3-C446-BDF7-1C4A8EAFE4BE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EF37DF7B81F44EBF315C4882E70794" ma:contentTypeVersion="14" ma:contentTypeDescription="Crea un document nou" ma:contentTypeScope="" ma:versionID="f90c47eb7e3f6a588459d080307382aa">
  <xsd:schema xmlns:xsd="http://www.w3.org/2001/XMLSchema" xmlns:xs="http://www.w3.org/2001/XMLSchema" xmlns:p="http://schemas.microsoft.com/office/2006/metadata/properties" xmlns:ns2="6847104e-379b-4806-ac2b-ec39a5e4fc8e" xmlns:ns3="ff89c1a9-ab0d-4b15-8824-e62a8110aa5c" targetNamespace="http://schemas.microsoft.com/office/2006/metadata/properties" ma:root="true" ma:fieldsID="6fa92402cc23000a80ee2de2ec171ffb" ns2:_="" ns3:_="">
    <xsd:import namespace="6847104e-379b-4806-ac2b-ec39a5e4fc8e"/>
    <xsd:import namespace="ff89c1a9-ab0d-4b15-8824-e62a8110aa5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47104e-379b-4806-ac2b-ec39a5e4fc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9" nillable="true" ma:taxonomy="true" ma:internalName="lcf76f155ced4ddcb4097134ff3c332f" ma:taxonomyFieldName="MediaServiceImageTags" ma:displayName="Etiquetes de la imatge" ma:readOnly="false" ma:fieldId="{5cf76f15-5ced-4ddc-b409-7134ff3c332f}" ma:taxonomyMulti="true" ma:sspId="c820fac2-d059-4130-98b8-bcc963ebf00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89c1a9-ab0d-4b15-8824-e62a8110aa5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mpartit amb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'ha compartit amb detal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94ef3a5-d400-4c39-a051-e59526feca85}" ma:internalName="TaxCatchAll" ma:showField="CatchAllData" ma:web="ff89c1a9-ab0d-4b15-8824-e62a8110aa5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us de contingut"/>
        <xsd:element ref="dc:title" minOccurs="0" maxOccurs="1" ma:index="4" ma:displayName="Títo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847104e-379b-4806-ac2b-ec39a5e4fc8e">
      <Terms xmlns="http://schemas.microsoft.com/office/infopath/2007/PartnerControls"/>
    </lcf76f155ced4ddcb4097134ff3c332f>
    <TaxCatchAll xmlns="ff89c1a9-ab0d-4b15-8824-e62a8110aa5c" xsi:nil="true"/>
  </documentManagement>
</p:properties>
</file>

<file path=customXml/itemProps1.xml><?xml version="1.0" encoding="utf-8"?>
<ds:datastoreItem xmlns:ds="http://schemas.openxmlformats.org/officeDocument/2006/customXml" ds:itemID="{C0C1A167-6750-4870-AA9D-55DD27133C76}">
  <ds:schemaRefs>
    <ds:schemaRef ds:uri="6847104e-379b-4806-ac2b-ec39a5e4fc8e"/>
    <ds:schemaRef ds:uri="ff89c1a9-ab0d-4b15-8824-e62a8110aa5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DD54C75-B314-40FC-B01C-81D2B7D7B67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078861C-BD5D-45C5-813E-386AF21E84E9}">
  <ds:schemaRefs>
    <ds:schemaRef ds:uri="6847104e-379b-4806-ac2b-ec39a5e4fc8e"/>
    <ds:schemaRef ds:uri="fac5c5d6-3f40-4888-827f-2feba602e379"/>
    <ds:schemaRef ds:uri="ff89c1a9-ab0d-4b15-8824-e62a8110aa5c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pportunity analysis ppt 1</Template>
  <TotalTime>0</TotalTime>
  <Words>13</Words>
  <Application>Microsoft Office PowerPoint</Application>
  <PresentationFormat>Panorámica</PresentationFormat>
  <Paragraphs>9</Paragraphs>
  <Slides>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Tema de Office</vt:lpstr>
      <vt:lpstr>Diapositiva de think-cell</vt:lpstr>
      <vt:lpstr>Opportunity Analys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Xavier Arola</dc:creator>
  <cp:lastModifiedBy>Xavier Arola</cp:lastModifiedBy>
  <cp:revision>2</cp:revision>
  <dcterms:created xsi:type="dcterms:W3CDTF">2022-06-14T08:44:01Z</dcterms:created>
  <dcterms:modified xsi:type="dcterms:W3CDTF">2025-06-17T14:16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8EF37DF7B81F44EBF315C4882E70794</vt:lpwstr>
  </property>
  <property fmtid="{D5CDD505-2E9C-101B-9397-08002B2CF9AE}" pid="3" name="MediaServiceImageTags">
    <vt:lpwstr/>
  </property>
</Properties>
</file>